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7" r:id="rId4"/>
  </p:sldMasterIdLst>
  <p:notesMasterIdLst>
    <p:notesMasterId r:id="rId8"/>
  </p:notesMasterIdLst>
  <p:sldIdLst>
    <p:sldId id="2145706926" r:id="rId5"/>
    <p:sldId id="2145706929" r:id="rId6"/>
    <p:sldId id="2147376698" r:id="rId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521B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F343F6-F05E-4DF0-8AB1-204394ABD2A5}" v="2" dt="2023-03-14T08:21:47.5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309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132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565574-3DEB-42E8-9136-D7DE6B970FC3}" type="datetimeFigureOut">
              <a:rPr lang="ru-RU" smtClean="0"/>
              <a:t>09.06.202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9297F2-A9E9-41C8-A561-ADAE95270F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8571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ED5AB0-1E68-4C29-93F0-540B32DC03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142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ED5AB0-1E68-4C29-93F0-540B32DC035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12705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4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4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4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5.xml"/><Relationship Id="rId7" Type="http://schemas.openxmlformats.org/officeDocument/2006/relationships/image" Target="../media/image3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4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560C44A-33BC-4EF6-8181-06633EBDFF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930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560C44A-33BC-4EF6-8181-06633EBDFF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26729E3-99DF-45EF-B815-C34CFA3F3B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75732" cy="1384995"/>
          </a:xfrm>
        </p:spPr>
        <p:txBody>
          <a:bodyPr anchor="t">
            <a:spAutoFit/>
          </a:bodyPr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038"/>
            <a:ext cx="7561262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 5">
            <a:extLst>
              <a:ext uri="{FF2B5EF4-FFF2-40B4-BE49-F238E27FC236}">
                <a16:creationId xmlns:a16="http://schemas.microsoft.com/office/drawing/2014/main" id="{8E6A5C74-7DF0-4E9F-85B4-3D981296AC2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544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B8605DD-1663-4698-B573-C7BF6F0E5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0913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B8605DD-1663-4698-B573-C7BF6F0E5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214FC2E-81B8-4864-9362-1C49E3BA10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66876"/>
            <a:ext cx="3193256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3257" y="944655"/>
            <a:ext cx="8482806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3257" y="1874838"/>
            <a:ext cx="8482806" cy="450691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709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90">
          <p15:clr>
            <a:srgbClr val="FBAE40"/>
          </p15:clr>
        </p15:guide>
        <p15:guide id="2" pos="2003">
          <p15:clr>
            <a:srgbClr val="FBAE40"/>
          </p15:clr>
        </p15:guide>
        <p15:guide id="3" orient="horz" pos="120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251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2599C39-9EA5-4E39-BCC0-592221003E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11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2599C39-9EA5-4E39-BCC0-592221003E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BFAAFD59-7FF6-47B3-BBA2-41E8D872EE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1384995"/>
          </a:xfrm>
        </p:spPr>
        <p:txBody>
          <a:bodyPr anchor="t">
            <a:spAutoFit/>
          </a:bodyPr>
          <a:lstStyle>
            <a:lvl1pPr algn="l">
              <a:lnSpc>
                <a:spcPct val="90000"/>
              </a:lnSpc>
              <a:defRPr sz="5000" cap="all" baseline="0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pic>
        <p:nvPicPr>
          <p:cNvPr id="8" name="Bild 5">
            <a:extLst>
              <a:ext uri="{FF2B5EF4-FFF2-40B4-BE49-F238E27FC236}">
                <a16:creationId xmlns:a16="http://schemas.microsoft.com/office/drawing/2014/main" id="{EA1D6381-3045-46B3-8F6D-3C011DCF604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644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28D1E07-B40B-4E7B-BC64-D30BD652E2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209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28D1E07-B40B-4E7B-BC64-D30BD652E2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828D2BD-658A-4518-A765-DE4F7FF498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914526"/>
            <a:ext cx="11160125" cy="1384995"/>
          </a:xfrm>
        </p:spPr>
        <p:txBody>
          <a:bodyPr anchor="t">
            <a:spAutoFit/>
          </a:bodyPr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7596188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pic>
        <p:nvPicPr>
          <p:cNvPr id="10" name="Bild 5">
            <a:extLst>
              <a:ext uri="{FF2B5EF4-FFF2-40B4-BE49-F238E27FC236}">
                <a16:creationId xmlns:a16="http://schemas.microsoft.com/office/drawing/2014/main" id="{956F7324-35F8-492F-9344-CDE3E1AEF6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447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221C565-A1C9-4BC0-B916-0C51AE5537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311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221C565-A1C9-4BC0-B916-0C51AE5537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A31432F-AA76-4269-93B4-BC2F1E7FB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5938" y="944438"/>
            <a:ext cx="9144000" cy="677491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 5">
            <a:extLst>
              <a:ext uri="{FF2B5EF4-FFF2-40B4-BE49-F238E27FC236}">
                <a16:creationId xmlns:a16="http://schemas.microsoft.com/office/drawing/2014/main" id="{D571D4B5-EEF3-4EB5-B84C-8C7F8BCB53E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83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EF9A793-6057-469E-B557-CEBDD6A068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0395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EF9A793-6057-469E-B557-CEBDD6A06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AD0B6AA-AEA8-454A-B27C-132CBCCA7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de-DE" sz="66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48291"/>
            <a:ext cx="11160126" cy="1986575"/>
          </a:xfrm>
        </p:spPr>
        <p:txBody>
          <a:bodyPr anchor="t"/>
          <a:lstStyle>
            <a:lvl1pPr algn="l">
              <a:lnSpc>
                <a:spcPct val="95000"/>
              </a:lnSpc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4053845"/>
            <a:ext cx="11160125" cy="2327904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 5">
            <a:extLst>
              <a:ext uri="{FF2B5EF4-FFF2-40B4-BE49-F238E27FC236}">
                <a16:creationId xmlns:a16="http://schemas.microsoft.com/office/drawing/2014/main" id="{C3E3302E-BDBE-4320-AE95-80B2FCF8F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639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4721746-A9A6-424C-9E4F-7DD465B065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870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4721746-A9A6-424C-9E4F-7DD465B06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265B924-C2C1-4BBF-B8EE-4EF047FF73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pic>
        <p:nvPicPr>
          <p:cNvPr id="9" name="Bild 4">
            <a:extLst>
              <a:ext uri="{FF2B5EF4-FFF2-40B4-BE49-F238E27FC236}">
                <a16:creationId xmlns:a16="http://schemas.microsoft.com/office/drawing/2014/main" id="{C546C87D-313E-4A1D-91EF-757F1CE9FF51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007" y="5960014"/>
            <a:ext cx="1264998" cy="595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625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783837E-7BA9-4498-9763-37215E3DD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605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783837E-7BA9-4498-9763-37215E3DD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73215A3-BC83-4C10-B565-429EDC1D1E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Bild 3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729" y="5936457"/>
            <a:ext cx="1619705" cy="6353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357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37C9DE6-2327-4EB3-B8A9-3C5799E64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571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37C9DE6-2327-4EB3-B8A9-3C5799E64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E1CAE04B-29F2-4595-B65A-7B3E9F3C9F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50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3750" y="1915722"/>
            <a:ext cx="8727732" cy="1384995"/>
          </a:xfrm>
        </p:spPr>
        <p:txBody>
          <a:bodyPr anchor="t">
            <a:spAutoFit/>
          </a:bodyPr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44438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38903" y="2000250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  <p:pic>
        <p:nvPicPr>
          <p:cNvPr id="9" name="Bild 5">
            <a:extLst>
              <a:ext uri="{FF2B5EF4-FFF2-40B4-BE49-F238E27FC236}">
                <a16:creationId xmlns:a16="http://schemas.microsoft.com/office/drawing/2014/main" id="{99CFE834-5C67-4A23-BA0F-ED5F836DA8E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30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EC8EF5-AA9A-4355-9720-80029224A6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756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EC8EF5-AA9A-4355-9720-80029224A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2F9349D-EE37-4DFB-843C-8D54A631F3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37909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8476CCC-63BC-4D81-8681-24AF9D22A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321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8DB404E-CD68-4443-B5F1-72C13C9BF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312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8DB404E-CD68-4443-B5F1-72C13C9BF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AC930B2-5508-4DE5-BFBC-815852FA6C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8251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 (right)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2996977" y="0"/>
            <a:ext cx="91950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5500" y="908720"/>
            <a:ext cx="8450562" cy="67749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69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 bwMode="gray">
          <a:xfrm>
            <a:off x="3225500" y="1736725"/>
            <a:ext cx="8450562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Bildplatzhalter 12"/>
          <p:cNvSpPr>
            <a:spLocks noGrp="1"/>
          </p:cNvSpPr>
          <p:nvPr>
            <p:ph type="pic" sz="quarter" idx="10" hasCustomPrompt="1"/>
          </p:nvPr>
        </p:nvSpPr>
        <p:spPr>
          <a:xfrm>
            <a:off x="307" y="4262469"/>
            <a:ext cx="2997200" cy="21192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CB will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pplication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17977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FB9DE40-91FA-4C49-9286-4299FF9BF0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593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FB9DE40-91FA-4C49-9286-4299FF9BF0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3CE2F42-B2D3-4FA6-8483-09FBAB0F6D9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3600450" cy="677491"/>
          </a:xfrm>
        </p:spPr>
        <p:txBody>
          <a:bodyPr/>
          <a:lstStyle>
            <a:lvl1pPr>
              <a:defRPr sz="2400" cap="all" baseline="0"/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329100"/>
            <a:ext cx="3600450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6" y="4329100"/>
            <a:ext cx="3598861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4329100"/>
            <a:ext cx="3598861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5" y="944438"/>
            <a:ext cx="3600450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77200" y="944438"/>
            <a:ext cx="3598861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17939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116387" y="1586211"/>
            <a:ext cx="17938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8" y="1924049"/>
            <a:ext cx="3600450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4295775" y="1924050"/>
            <a:ext cx="3598861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/>
          </p:nvPr>
        </p:nvSpPr>
        <p:spPr>
          <a:xfrm>
            <a:off x="8077200" y="1924050"/>
            <a:ext cx="3598861" cy="226695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7634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3">
          <p15:clr>
            <a:srgbClr val="FBAE40"/>
          </p15:clr>
        </p15:guide>
        <p15:guide id="2" pos="2705">
          <p15:clr>
            <a:srgbClr val="FBAE40"/>
          </p15:clr>
        </p15:guide>
        <p15:guide id="3" pos="4974">
          <p15:clr>
            <a:srgbClr val="FBAE40"/>
          </p15:clr>
        </p15:guide>
        <p15:guide id="4" pos="5087">
          <p15:clr>
            <a:srgbClr val="FBAE40"/>
          </p15:clr>
        </p15:guide>
        <p15:guide id="6" orient="horz" pos="120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B77877E-96EA-4516-A853-5F0CCD356A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3994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B77877E-96EA-4516-A853-5F0CCD356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6B7CE7F-105A-47FB-A7C2-261ECBEB10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5489578" cy="677491"/>
          </a:xfrm>
        </p:spPr>
        <p:txBody>
          <a:bodyPr/>
          <a:lstStyle>
            <a:lvl1pPr>
              <a:defRPr sz="2400" cap="all" baseline="0"/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4329100"/>
            <a:ext cx="5489578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86490" y="4329100"/>
            <a:ext cx="548957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186489" y="944438"/>
            <a:ext cx="5489570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6005511" y="1586211"/>
            <a:ext cx="180977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24050"/>
            <a:ext cx="5489576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6186490" y="1924050"/>
            <a:ext cx="5489570" cy="22606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3044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6">
          <p15:clr>
            <a:srgbClr val="FBAE40"/>
          </p15:clr>
        </p15:guide>
        <p15:guide id="2" orient="horz" pos="2750">
          <p15:clr>
            <a:srgbClr val="FBAE40"/>
          </p15:clr>
        </p15:guide>
        <p15:guide id="3" pos="3897">
          <p15:clr>
            <a:srgbClr val="FBAE40"/>
          </p15:clr>
        </p15:guide>
        <p15:guide id="4" pos="3783">
          <p15:clr>
            <a:srgbClr val="FBAE40"/>
          </p15:clr>
        </p15:guide>
        <p15:guide id="5" orient="horz" pos="120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2F43523-6F1A-4675-8621-0F8114B72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84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2F43523-6F1A-4675-8621-0F8114B72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0470EF73-1942-40F2-AE5B-38EA427E43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11160122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077200" y="1874839"/>
            <a:ext cx="3598859" cy="4506912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24049"/>
            <a:ext cx="7380288" cy="4457701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диаграммы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8468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>
          <p15:clr>
            <a:srgbClr val="FBAE40"/>
          </p15:clr>
        </p15:guide>
        <p15:guide id="2" pos="5087">
          <p15:clr>
            <a:srgbClr val="FBAE40"/>
          </p15:clr>
        </p15:guide>
        <p15:guide id="3" orient="horz" pos="120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405A06F-303C-41FB-B67B-1BE3076F4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9597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405A06F-303C-41FB-B67B-1BE3076F4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E05351F-5029-47C9-8060-DE3A03C3BF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2283618"/>
            <a:ext cx="3600450" cy="4098131"/>
          </a:xfrm>
          <a:solidFill>
            <a:schemeClr val="bg2"/>
          </a:solidFill>
        </p:spPr>
        <p:txBody>
          <a:bodyPr lIns="108000" tIns="72000" rIns="90000" bIns="72000"/>
          <a:lstStyle>
            <a:lvl1pPr marL="182563" indent="-182563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2286000"/>
            <a:ext cx="3600449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077201" y="2286000"/>
            <a:ext cx="3598862" cy="4095750"/>
          </a:xfrm>
          <a:solidFill>
            <a:schemeClr val="bg2"/>
          </a:solidFill>
        </p:spPr>
        <p:txBody>
          <a:bodyPr lIns="108000" tIns="72000" rIns="90000" bIns="720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698500" y="4392814"/>
            <a:ext cx="3235326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</a:t>
            </a:r>
            <a:br>
              <a:rPr lang="de-DE"/>
            </a:br>
            <a:r>
              <a:rPr lang="de-DE"/>
              <a:t>oder durch Klicken </a:t>
            </a:r>
            <a:br>
              <a:rPr lang="de-DE"/>
            </a:br>
            <a:r>
              <a:rPr lang="de-DE"/>
              <a:t>auf Symbol hinzufügen</a:t>
            </a:r>
            <a:endParaRPr lang="en-GB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 hasCustomPrompt="1"/>
          </p:nvPr>
        </p:nvSpPr>
        <p:spPr>
          <a:xfrm>
            <a:off x="4482277" y="4392814"/>
            <a:ext cx="322744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</a:t>
            </a:r>
            <a:br>
              <a:rPr lang="de-DE"/>
            </a:br>
            <a:r>
              <a:rPr lang="de-DE"/>
              <a:t>oder durch Klicken </a:t>
            </a:r>
            <a:br>
              <a:rPr lang="de-DE"/>
            </a:br>
            <a:r>
              <a:rPr lang="de-DE"/>
              <a:t>auf Symbol hinzufügen</a:t>
            </a:r>
            <a:endParaRPr lang="en-GB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8295607" y="4392814"/>
            <a:ext cx="3162052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</a:t>
            </a:r>
            <a:br>
              <a:rPr lang="de-DE"/>
            </a:br>
            <a:r>
              <a:rPr lang="de-DE"/>
              <a:t>auf Symbol hinzufügen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9" y="1874838"/>
            <a:ext cx="3600448" cy="270715"/>
          </a:xfrm>
        </p:spPr>
        <p:txBody>
          <a:bodyPr>
            <a:spAutoFit/>
          </a:bodyPr>
          <a:lstStyle>
            <a:lvl1pPr marL="0" indent="0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874838"/>
            <a:ext cx="3600450" cy="270715"/>
          </a:xfrm>
        </p:spPr>
        <p:txBody>
          <a:bodyPr>
            <a:spAutoFit/>
          </a:bodyPr>
          <a:lstStyle>
            <a:lvl1pPr marL="0" indent="0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077201" y="1874838"/>
            <a:ext cx="3598862" cy="270715"/>
          </a:xfrm>
        </p:spPr>
        <p:txBody>
          <a:bodyPr>
            <a:spAutoFit/>
          </a:bodyPr>
          <a:lstStyle>
            <a:lvl1pPr marL="0" indent="0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0E706B9-B555-4835-8529-34ED77C860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374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2" pos="2593">
          <p15:clr>
            <a:srgbClr val="FBAE40"/>
          </p15:clr>
        </p15:guide>
        <p15:guide id="3" pos="2706">
          <p15:clr>
            <a:srgbClr val="FBAE40"/>
          </p15:clr>
        </p15:guide>
        <p15:guide id="4" pos="4974">
          <p15:clr>
            <a:srgbClr val="FBAE40"/>
          </p15:clr>
        </p15:guide>
        <p15:guide id="5" pos="5087">
          <p15:clr>
            <a:srgbClr val="FBAE40"/>
          </p15:clr>
        </p15:guide>
        <p15:guide id="6" orient="horz" pos="120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023E926-137F-4438-B6FB-596C41AE46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554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023E926-137F-4438-B6FB-596C41AE46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DCA5E09-5875-4F6F-B089-039F1701E7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9932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FFF0F44-A5C4-4D43-A3B5-663C81FEB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2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FFF0F44-A5C4-4D43-A3B5-663C81FEB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376DB07-1DB5-4D32-9A94-BF4488E24F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586211"/>
            <a:ext cx="121920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15938" y="944438"/>
            <a:ext cx="9144000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06667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5DA951B-09B3-4DA0-BAEF-CDDFCE01BA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5491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5DA951B-09B3-4DA0-BAEF-CDDFCE01B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F68BD87-6213-4263-997C-E01AA55F6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57350"/>
            <a:ext cx="6275388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5388" y="944655"/>
            <a:ext cx="5400673" cy="6774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5388" y="1874838"/>
            <a:ext cx="5400673" cy="450691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8295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953">
          <p15:clr>
            <a:srgbClr val="FBAE40"/>
          </p15:clr>
        </p15:guide>
        <p15:guide id="3" orient="horz" pos="120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B28F66A-86F7-4183-A310-BFD75F5DBA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95475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25" imgW="344" imgH="345" progId="TCLayout.ActiveDocument.1">
                  <p:embed/>
                </p:oleObj>
              </mc:Choice>
              <mc:Fallback>
                <p:oleObj name="think-cell Folie" r:id="rId25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B28F66A-86F7-4183-A310-BFD75F5DB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66F69BE-5A58-410D-B4CA-A76B2669E2D1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944438"/>
            <a:ext cx="9144000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7" y="1873251"/>
            <a:ext cx="11160125" cy="45084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0" name="Bild 6">
            <a:extLst>
              <a:ext uri="{FF2B5EF4-FFF2-40B4-BE49-F238E27FC236}">
                <a16:creationId xmlns:a16="http://schemas.microsoft.com/office/drawing/2014/main" id="{DB9898A0-B51C-4661-8DBA-E0D3DE7F1E4B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2666" y="365125"/>
            <a:ext cx="1764000" cy="434769"/>
          </a:xfrm>
          <a:prstGeom prst="rect">
            <a:avLst/>
          </a:prstGeom>
        </p:spPr>
      </p:pic>
      <p:cxnSp>
        <p:nvCxnSpPr>
          <p:cNvPr id="15" name="Straight Connector 10">
            <a:extLst>
              <a:ext uri="{FF2B5EF4-FFF2-40B4-BE49-F238E27FC236}">
                <a16:creationId xmlns:a16="http://schemas.microsoft.com/office/drawing/2014/main" id="{84EADDF1-D334-4E32-BE61-66E20E368915}"/>
              </a:ext>
            </a:extLst>
          </p:cNvPr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7174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9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4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270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70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0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9" orient="horz" pos="4020">
          <p15:clr>
            <a:srgbClr val="F26B43"/>
          </p15:clr>
        </p15:guide>
        <p15:guide id="12" pos="6085">
          <p15:clr>
            <a:srgbClr val="F26B43"/>
          </p15:clr>
        </p15:guide>
        <p15:guide id="13" orient="horz" pos="1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8.png"/><Relationship Id="rId3" Type="http://schemas.openxmlformats.org/officeDocument/2006/relationships/image" Target="../media/image9.tiff"/><Relationship Id="rId7" Type="http://schemas.openxmlformats.org/officeDocument/2006/relationships/image" Target="../media/image13.jpeg"/><Relationship Id="rId12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11.jpeg"/><Relationship Id="rId10" Type="http://schemas.openxmlformats.org/officeDocument/2006/relationships/image" Target="../media/image16.png"/><Relationship Id="rId4" Type="http://schemas.openxmlformats.org/officeDocument/2006/relationships/image" Target="../media/image10.jpeg"/><Relationship Id="rId9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DAD70EF-DE16-4904-B3E3-4F8228BD24D3}"/>
              </a:ext>
            </a:extLst>
          </p:cNvPr>
          <p:cNvSpPr/>
          <p:nvPr/>
        </p:nvSpPr>
        <p:spPr>
          <a:xfrm>
            <a:off x="0" y="0"/>
            <a:ext cx="5895974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95974" y="908720"/>
            <a:ext cx="6296026" cy="677491"/>
          </a:xfrm>
        </p:spPr>
        <p:txBody>
          <a:bodyPr/>
          <a:lstStyle/>
          <a:p>
            <a:pPr algn="ctr"/>
            <a:r>
              <a:rPr lang="ru-RU" dirty="0"/>
              <a:t>Главные причины быть бестселлером  </a:t>
            </a:r>
            <a:endParaRPr lang="de-DE" dirty="0"/>
          </a:p>
        </p:txBody>
      </p:sp>
      <p:graphicFrame>
        <p:nvGraphicFramePr>
          <p:cNvPr id="8" name="Table 3"/>
          <p:cNvGraphicFramePr>
            <a:graphicFrameLocks noGrp="1"/>
          </p:cNvGraphicFramePr>
          <p:nvPr/>
        </p:nvGraphicFramePr>
        <p:xfrm>
          <a:off x="548247" y="510986"/>
          <a:ext cx="5347727" cy="123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347727">
                  <a:extLst>
                    <a:ext uri="{9D8B030D-6E8A-4147-A177-3AD203B41FA5}">
                      <a16:colId xmlns:a16="http://schemas.microsoft.com/office/drawing/2014/main" val="2386316154"/>
                    </a:ext>
                  </a:extLst>
                </a:gridCol>
              </a:tblGrid>
              <a:tr h="1230238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4000" b="1" cap="all" baseline="0" noProof="0">
                          <a:solidFill>
                            <a:schemeClr val="bg1"/>
                          </a:solidFill>
                        </a:rPr>
                        <a:t>LEDVANCE</a:t>
                      </a:r>
                    </a:p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4000" b="1" cap="all" baseline="0" noProof="0">
                          <a:solidFill>
                            <a:schemeClr val="bg1"/>
                          </a:solidFill>
                        </a:rPr>
                        <a:t>Panel Comfort</a:t>
                      </a:r>
                      <a:endParaRPr lang="en-US" sz="4000" b="0" cap="none" baseline="0" noProof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7200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8967116"/>
                  </a:ext>
                </a:extLst>
              </a:tr>
            </a:tbl>
          </a:graphicData>
        </a:graphic>
      </p:graphicFrame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56E9A70A-6A1B-4BF2-B992-3FD0DFAC6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4012" y="1875600"/>
            <a:ext cx="5472050" cy="4506150"/>
          </a:xfrm>
        </p:spPr>
        <p:txBody>
          <a:bodyPr/>
          <a:lstStyle/>
          <a:p>
            <a:pPr marL="36000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400" b="1" kern="0" dirty="0">
                <a:solidFill>
                  <a:prstClr val="black"/>
                </a:solidFill>
                <a:latin typeface="Arial"/>
                <a:cs typeface="Arial" charset="0"/>
              </a:rPr>
              <a:t>Универсальность </a:t>
            </a:r>
            <a:r>
              <a:rPr lang="ru-RU" sz="1400" kern="0" dirty="0">
                <a:solidFill>
                  <a:prstClr val="black"/>
                </a:solidFill>
                <a:latin typeface="Arial"/>
                <a:cs typeface="Arial" charset="0"/>
              </a:rPr>
              <a:t>светильник с выбором мощности простоты использования и установки</a:t>
            </a:r>
            <a:endParaRPr lang="en-US" sz="1400" kern="0" dirty="0">
              <a:solidFill>
                <a:prstClr val="black"/>
              </a:solidFill>
              <a:latin typeface="Arial"/>
              <a:cs typeface="Arial" charset="0"/>
            </a:endParaRPr>
          </a:p>
          <a:p>
            <a:pPr marL="36000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36000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400" b="1" kern="0" dirty="0">
                <a:solidFill>
                  <a:prstClr val="black"/>
                </a:solidFill>
                <a:latin typeface="Arial"/>
                <a:cs typeface="Arial" charset="0"/>
              </a:rPr>
              <a:t>До</a:t>
            </a:r>
            <a:r>
              <a:rPr lang="en-US" sz="1400" b="1" kern="0" dirty="0">
                <a:solidFill>
                  <a:prstClr val="black"/>
                </a:solidFill>
                <a:latin typeface="Arial"/>
                <a:cs typeface="Arial" charset="0"/>
              </a:rPr>
              <a:t> 130</a:t>
            </a:r>
            <a:r>
              <a:rPr lang="ru-RU" sz="1400" b="1" kern="0" dirty="0">
                <a:solidFill>
                  <a:prstClr val="black"/>
                </a:solidFill>
                <a:latin typeface="Arial"/>
                <a:cs typeface="Arial" charset="0"/>
              </a:rPr>
              <a:t> лм/Вт</a:t>
            </a:r>
            <a:r>
              <a:rPr lang="en-US" sz="1400" b="1" kern="0" dirty="0">
                <a:solidFill>
                  <a:prstClr val="black"/>
                </a:solidFill>
                <a:latin typeface="Arial"/>
                <a:cs typeface="Arial" charset="0"/>
              </a:rPr>
              <a:t> </a:t>
            </a:r>
            <a:r>
              <a:rPr lang="ru-RU" sz="1400" b="1" kern="0" dirty="0">
                <a:solidFill>
                  <a:prstClr val="black"/>
                </a:solidFill>
                <a:latin typeface="Arial"/>
                <a:cs typeface="Arial" charset="0"/>
              </a:rPr>
              <a:t>и</a:t>
            </a:r>
            <a:r>
              <a:rPr lang="en-US" sz="1400" b="1" kern="0" dirty="0">
                <a:solidFill>
                  <a:prstClr val="black"/>
                </a:solidFill>
                <a:latin typeface="Arial"/>
                <a:cs typeface="Arial" charset="0"/>
              </a:rPr>
              <a:t> 4320</a:t>
            </a:r>
            <a:r>
              <a:rPr lang="ru-RU" sz="1400" b="1" kern="0" dirty="0">
                <a:solidFill>
                  <a:prstClr val="black"/>
                </a:solidFill>
                <a:latin typeface="Arial"/>
                <a:cs typeface="Arial" charset="0"/>
              </a:rPr>
              <a:t> лм </a:t>
            </a:r>
            <a:r>
              <a:rPr lang="ru-RU" sz="1400" kern="0" dirty="0">
                <a:solidFill>
                  <a:prstClr val="black"/>
                </a:solidFill>
                <a:latin typeface="Arial"/>
                <a:cs typeface="Arial" charset="0"/>
              </a:rPr>
              <a:t>для высоко энергоэффективных требований</a:t>
            </a:r>
            <a:endParaRPr lang="en-US" sz="1400" kern="0" dirty="0">
              <a:solidFill>
                <a:prstClr val="black"/>
              </a:solidFill>
              <a:latin typeface="Arial"/>
              <a:cs typeface="Arial" charset="0"/>
            </a:endParaRPr>
          </a:p>
          <a:p>
            <a:pPr marL="36000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400" kern="0" dirty="0">
              <a:solidFill>
                <a:prstClr val="black"/>
              </a:solidFill>
              <a:latin typeface="Arial"/>
              <a:cs typeface="Arial" charset="0"/>
            </a:endParaRPr>
          </a:p>
          <a:p>
            <a:pPr marL="360000" indent="-285750">
              <a:buFont typeface="Wingdings" panose="05000000000000000000" pitchFamily="2" charset="2"/>
              <a:buChar char="ü"/>
            </a:pPr>
            <a:r>
              <a:rPr lang="ru-RU" sz="1400" dirty="0"/>
              <a:t>Лучший комфорт от света благодаря низкой пульсации, высокому цветовому постоянству</a:t>
            </a:r>
            <a:r>
              <a:rPr lang="en-US" sz="1400" dirty="0"/>
              <a:t> (SDCM 3)</a:t>
            </a:r>
            <a:endParaRPr lang="en-US" sz="1400" b="1" dirty="0"/>
          </a:p>
          <a:p>
            <a:pPr marL="360000" indent="-285750">
              <a:buFont typeface="Wingdings" panose="05000000000000000000" pitchFamily="2" charset="2"/>
              <a:buChar char="ü"/>
            </a:pPr>
            <a:endParaRPr lang="en-US" sz="1400" b="1" dirty="0"/>
          </a:p>
          <a:p>
            <a:pPr marL="360000" indent="-285750">
              <a:buFont typeface="Wingdings" panose="05000000000000000000" pitchFamily="2" charset="2"/>
              <a:buChar char="ü"/>
            </a:pPr>
            <a:r>
              <a:rPr lang="ru-RU" sz="1400" b="1" dirty="0"/>
              <a:t>Длинный срок службы</a:t>
            </a:r>
            <a:r>
              <a:rPr lang="en-US" sz="1400" dirty="0"/>
              <a:t> 70,000</a:t>
            </a:r>
            <a:r>
              <a:rPr lang="ru-RU" sz="1400" dirty="0"/>
              <a:t>ч</a:t>
            </a:r>
            <a:r>
              <a:rPr lang="en-US" sz="1400" dirty="0"/>
              <a:t> L80/B10 @25°C</a:t>
            </a:r>
          </a:p>
          <a:p>
            <a:pPr marL="7425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endParaRPr lang="en-US" sz="1400" kern="0" dirty="0">
              <a:solidFill>
                <a:prstClr val="black"/>
              </a:solidFill>
              <a:latin typeface="Arial"/>
              <a:cs typeface="Arial" charset="0"/>
            </a:endParaRPr>
          </a:p>
          <a:p>
            <a:pPr marL="36000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400" kern="0" dirty="0">
                <a:solidFill>
                  <a:prstClr val="black"/>
                </a:solidFill>
                <a:latin typeface="Arial"/>
                <a:cs typeface="Arial" charset="0"/>
              </a:rPr>
              <a:t>Легкое и </a:t>
            </a:r>
            <a:r>
              <a:rPr lang="ru-RU" sz="1400" kern="0" dirty="0" err="1">
                <a:solidFill>
                  <a:prstClr val="black"/>
                </a:solidFill>
                <a:latin typeface="Arial"/>
                <a:cs typeface="Arial" charset="0"/>
              </a:rPr>
              <a:t>безынструментальное</a:t>
            </a:r>
            <a:r>
              <a:rPr lang="ru-RU" sz="1400" kern="0" dirty="0">
                <a:solidFill>
                  <a:prstClr val="black"/>
                </a:solidFill>
                <a:latin typeface="Arial"/>
                <a:cs typeface="Arial" charset="0"/>
              </a:rPr>
              <a:t> подключение к </a:t>
            </a:r>
            <a:r>
              <a:rPr lang="ru-RU" sz="1400" kern="0" dirty="0" err="1">
                <a:solidFill>
                  <a:prstClr val="black"/>
                </a:solidFill>
                <a:latin typeface="Arial"/>
                <a:cs typeface="Arial" charset="0"/>
              </a:rPr>
              <a:t>пятиполюсному</a:t>
            </a:r>
            <a:r>
              <a:rPr lang="ru-RU" sz="1400" kern="0" dirty="0">
                <a:solidFill>
                  <a:prstClr val="black"/>
                </a:solidFill>
                <a:latin typeface="Arial"/>
                <a:cs typeface="Arial" charset="0"/>
              </a:rPr>
              <a:t> коннектору.</a:t>
            </a:r>
            <a:endParaRPr lang="en-US" sz="1400" kern="0" dirty="0">
              <a:solidFill>
                <a:prstClr val="black"/>
              </a:solidFill>
              <a:latin typeface="Arial"/>
              <a:cs typeface="Arial" charset="0"/>
            </a:endParaRPr>
          </a:p>
          <a:p>
            <a:pPr marL="36000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360000" indent="-285750">
              <a:buFont typeface="Wingdings" panose="05000000000000000000" pitchFamily="2" charset="2"/>
              <a:buChar char="ü"/>
            </a:pPr>
            <a:r>
              <a:rPr lang="ru-RU" sz="1400" b="1" kern="0" dirty="0">
                <a:solidFill>
                  <a:srgbClr val="000000"/>
                </a:solidFill>
              </a:rPr>
              <a:t>Дополнительные сервисы</a:t>
            </a:r>
            <a:r>
              <a:rPr lang="ru-RU" sz="1400" kern="0" dirty="0">
                <a:solidFill>
                  <a:srgbClr val="000000"/>
                </a:solidFill>
              </a:rPr>
              <a:t> такие как мониторинг энергопотребления и эксплуатация с </a:t>
            </a:r>
            <a:r>
              <a:rPr lang="en-US" sz="1400" b="1" kern="0" dirty="0">
                <a:solidFill>
                  <a:srgbClr val="000000"/>
                </a:solidFill>
              </a:rPr>
              <a:t>IoT-ready</a:t>
            </a:r>
            <a:r>
              <a:rPr lang="en-US" sz="1400" kern="0" dirty="0">
                <a:solidFill>
                  <a:srgbClr val="000000"/>
                </a:solidFill>
              </a:rPr>
              <a:t> DALI </a:t>
            </a:r>
            <a:r>
              <a:rPr lang="ru-RU" sz="1400" kern="0" dirty="0">
                <a:solidFill>
                  <a:srgbClr val="000000"/>
                </a:solidFill>
              </a:rPr>
              <a:t>версии и </a:t>
            </a:r>
            <a:r>
              <a:rPr lang="en-US" sz="1400" kern="0" dirty="0">
                <a:solidFill>
                  <a:srgbClr val="000000"/>
                </a:solidFill>
              </a:rPr>
              <a:t>ZigBee</a:t>
            </a:r>
            <a:endParaRPr lang="en-US" sz="1400" kern="0" dirty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24" name="Grafik 5">
            <a:extLst>
              <a:ext uri="{FF2B5EF4-FFF2-40B4-BE49-F238E27FC236}">
                <a16:creationId xmlns:a16="http://schemas.microsoft.com/office/drawing/2014/main" id="{A8CFC38E-076E-4BD8-BFBB-DEB830A4C88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275" y="2041687"/>
            <a:ext cx="4173976" cy="417397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85849A3-65C0-48ED-9810-306BD25B3BF1}"/>
              </a:ext>
            </a:extLst>
          </p:cNvPr>
          <p:cNvSpPr txBox="1"/>
          <p:nvPr/>
        </p:nvSpPr>
        <p:spPr>
          <a:xfrm>
            <a:off x="722443" y="6204011"/>
            <a:ext cx="9113260" cy="584775"/>
          </a:xfrm>
          <a:prstGeom prst="rect">
            <a:avLst/>
          </a:prstGeom>
          <a:noFill/>
          <a:ln w="38100"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dirty="0"/>
              <a:t>PANEL</a:t>
            </a:r>
            <a:r>
              <a:rPr lang="en-001" sz="2400" dirty="0"/>
              <a:t>     </a:t>
            </a:r>
            <a:r>
              <a:rPr lang="en-US" sz="2400" dirty="0"/>
              <a:t>Performance</a:t>
            </a:r>
            <a:r>
              <a:rPr lang="en-001" sz="2400" dirty="0"/>
              <a:t>(PL PFM)      </a:t>
            </a:r>
            <a:r>
              <a:rPr lang="en-001" sz="3200" dirty="0">
                <a:sym typeface="Wingdings" panose="05000000000000000000" pitchFamily="2" charset="2"/>
              </a:rPr>
              <a:t></a:t>
            </a:r>
            <a:r>
              <a:rPr lang="en-001" sz="2400" dirty="0">
                <a:sym typeface="Wingdings" panose="05000000000000000000" pitchFamily="2" charset="2"/>
              </a:rPr>
              <a:t>     </a:t>
            </a:r>
            <a:r>
              <a:rPr lang="en-US" sz="2400" dirty="0"/>
              <a:t>COMFORT</a:t>
            </a:r>
            <a:r>
              <a:rPr lang="en-001" sz="2400" dirty="0"/>
              <a:t>(PL CMFT)     </a:t>
            </a:r>
            <a:endParaRPr lang="en-US" sz="24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7396" y="278621"/>
            <a:ext cx="3524250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834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14">
            <a:extLst>
              <a:ext uri="{FF2B5EF4-FFF2-40B4-BE49-F238E27FC236}">
                <a16:creationId xmlns:a16="http://schemas.microsoft.com/office/drawing/2014/main" id="{69BA8B71-C4EC-42CE-A191-3CCF70EFB49B}"/>
              </a:ext>
            </a:extLst>
          </p:cNvPr>
          <p:cNvSpPr/>
          <p:nvPr/>
        </p:nvSpPr>
        <p:spPr>
          <a:xfrm>
            <a:off x="7573962" y="2407973"/>
            <a:ext cx="4124193" cy="314084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800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Особенности продукта: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ффективность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130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м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т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ветовой поток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320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м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00" kern="0" dirty="0">
                <a:solidFill>
                  <a:srgbClr val="000000"/>
                </a:solidFill>
                <a:latin typeface="Arial"/>
              </a:rPr>
              <a:t>Функция </a:t>
            </a:r>
            <a:r>
              <a:rPr lang="en-US" sz="1100" kern="0" dirty="0">
                <a:solidFill>
                  <a:srgbClr val="000000"/>
                </a:solidFill>
                <a:latin typeface="Arial"/>
              </a:rPr>
              <a:t>Power Select (PS)</a:t>
            </a:r>
            <a:r>
              <a:rPr lang="ru-RU" sz="1100" kern="0" dirty="0">
                <a:solidFill>
                  <a:srgbClr val="000000"/>
                </a:solidFill>
                <a:latin typeface="Arial"/>
              </a:rPr>
              <a:t>, переключение на драйвере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ветовые температуры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3000K/4000K/6500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Шаг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600x600 / </a:t>
            </a:r>
            <a:r>
              <a:rPr lang="ru-RU" sz="1100" kern="0" dirty="0">
                <a:solidFill>
                  <a:srgbClr val="000000"/>
                </a:solidFill>
                <a:latin typeface="Arial"/>
              </a:rPr>
              <a:t>1200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0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гол </a:t>
            </a:r>
            <a:r>
              <a:rPr kumimoji="0" lang="ru-RU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спределния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120°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DCM 3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00" kern="0" dirty="0" err="1">
                <a:solidFill>
                  <a:srgbClr val="000000"/>
                </a:solidFill>
                <a:latin typeface="Arial"/>
              </a:rPr>
              <a:t>Кп</a:t>
            </a:r>
            <a:r>
              <a:rPr lang="en-001" sz="1100" kern="0" dirty="0">
                <a:solidFill>
                  <a:srgbClr val="000000"/>
                </a:solidFill>
                <a:latin typeface="Arial"/>
              </a:rPr>
              <a:t>&lt; 5%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00" kern="0" dirty="0">
                <a:solidFill>
                  <a:prstClr val="black"/>
                </a:solidFill>
                <a:latin typeface="Arial"/>
              </a:rPr>
              <a:t>Срок службы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70,000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асов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L80/B10 @ 25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Symbol" panose="05050102010706020507" pitchFamily="18" charset="2"/>
              </a:rPr>
              <a:t>C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100" kern="0" dirty="0">
                <a:solidFill>
                  <a:srgbClr val="000000"/>
                </a:solidFill>
                <a:latin typeface="Arial"/>
              </a:rPr>
              <a:t>Гарантия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5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ет</a:t>
            </a:r>
            <a:endParaRPr kumimoji="0" lang="en-US" sz="11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ступные версии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ndard (ON/OFF)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 переключением мощности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LI 2.0 (IoT-ready /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vares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.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ходит для подключения внешнего аварийного питания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 systems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0" dirty="0">
                <a:solidFill>
                  <a:srgbClr val="000000"/>
                </a:solidFill>
                <a:latin typeface="Arial"/>
              </a:rPr>
              <a:t>Zigbee 3.0 (</a:t>
            </a:r>
            <a:r>
              <a:rPr lang="en-US" sz="1100" kern="0" dirty="0" err="1">
                <a:solidFill>
                  <a:srgbClr val="000000"/>
                </a:solidFill>
                <a:latin typeface="Arial"/>
              </a:rPr>
              <a:t>Vivares</a:t>
            </a:r>
            <a:r>
              <a:rPr lang="en-US" sz="1100" kern="0" dirty="0">
                <a:solidFill>
                  <a:srgbClr val="000000"/>
                </a:solidFill>
                <a:latin typeface="Arial"/>
              </a:rPr>
              <a:t>)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 аварийном режиме работает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 Conversion Bo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зор семейства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425550"/>
              </p:ext>
            </p:extLst>
          </p:nvPr>
        </p:nvGraphicFramePr>
        <p:xfrm>
          <a:off x="73518" y="1741419"/>
          <a:ext cx="2850777" cy="13521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850777">
                  <a:extLst>
                    <a:ext uri="{9D8B030D-6E8A-4147-A177-3AD203B41FA5}">
                      <a16:colId xmlns:a16="http://schemas.microsoft.com/office/drawing/2014/main" val="23863161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800" b="1" cap="none" baseline="0" dirty="0">
                          <a:solidFill>
                            <a:schemeClr val="bg1"/>
                          </a:solidFill>
                        </a:rPr>
                        <a:t>Panel</a:t>
                      </a:r>
                      <a:r>
                        <a:rPr lang="en-US" sz="2800" b="1" cap="all" baseline="0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2800" b="1" cap="all" baseline="0" dirty="0">
                          <a:solidFill>
                            <a:schemeClr val="bg1"/>
                          </a:solidFill>
                        </a:rPr>
                        <a:t>Comfor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0</a:t>
                      </a:r>
                      <a:r>
                        <a:rPr kumimoji="0" lang="ru-RU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1200</a:t>
                      </a:r>
                      <a:endParaRPr kumimoji="0" lang="en-US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7200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8967116"/>
                  </a:ext>
                </a:extLst>
              </a:tr>
            </a:tbl>
          </a:graphicData>
        </a:graphic>
      </p:graphicFrame>
      <p:sp>
        <p:nvSpPr>
          <p:cNvPr id="31" name="Rechteck 30"/>
          <p:cNvSpPr/>
          <p:nvPr/>
        </p:nvSpPr>
        <p:spPr bwMode="auto">
          <a:xfrm>
            <a:off x="3225500" y="2407973"/>
            <a:ext cx="4124193" cy="3140847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9C9E9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tangle 2"/>
          <p:cNvSpPr/>
          <p:nvPr/>
        </p:nvSpPr>
        <p:spPr>
          <a:xfrm>
            <a:off x="3219707" y="5027391"/>
            <a:ext cx="21600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31825" algn="l"/>
              </a:tabLst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9C9E9F"/>
                </a:solidFill>
                <a:effectLst/>
                <a:uLnTx/>
                <a:uFillTx/>
                <a:latin typeface="Arial"/>
                <a:ea typeface="Calibri"/>
                <a:cs typeface="Times New Roman" panose="02020603050405020304" pitchFamily="18" charset="0"/>
              </a:rPr>
              <a:t>Housing: 	Alumin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31825" algn="l"/>
              </a:tabLst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9C9E9F"/>
                </a:solidFill>
                <a:effectLst/>
                <a:uLnTx/>
                <a:uFillTx/>
                <a:latin typeface="Arial"/>
                <a:ea typeface="Calibri"/>
                <a:cs typeface="Times New Roman" panose="02020603050405020304" pitchFamily="18" charset="0"/>
              </a:rPr>
              <a:t>Diffuser: 	PS</a:t>
            </a:r>
          </a:p>
        </p:txBody>
      </p:sp>
      <p:pic>
        <p:nvPicPr>
          <p:cNvPr id="39" name="Picture 17"/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1347" y="2639058"/>
            <a:ext cx="3437848" cy="1973814"/>
          </a:xfrm>
          <a:prstGeom prst="rect">
            <a:avLst/>
          </a:prstGeom>
        </p:spPr>
      </p:pic>
      <p:pic>
        <p:nvPicPr>
          <p:cNvPr id="25" name="Bildplatzhalter 3"/>
          <p:cNvPicPr>
            <a:picLocks noGrp="1" noChangeAspect="1"/>
          </p:cNvPicPr>
          <p:nvPr>
            <p:ph type="pic" sz="quarter" idx="10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6" y="4262469"/>
            <a:ext cx="2993062" cy="2119281"/>
          </a:xfr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9845605E-0D54-4DE2-94F9-BC4C9D19C67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6499" y="1799984"/>
            <a:ext cx="559653" cy="559653"/>
          </a:xfrm>
          <a:prstGeom prst="rect">
            <a:avLst/>
          </a:prstGeom>
        </p:spPr>
      </p:pic>
      <p:sp>
        <p:nvSpPr>
          <p:cNvPr id="44" name="Rechteck 14">
            <a:extLst>
              <a:ext uri="{FF2B5EF4-FFF2-40B4-BE49-F238E27FC236}">
                <a16:creationId xmlns:a16="http://schemas.microsoft.com/office/drawing/2014/main" id="{455771DC-63FF-4371-BBDB-3271F15E531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11441" y="6194367"/>
            <a:ext cx="4381279" cy="493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46800" numCol="3"/>
          <a:lstStyle/>
          <a:p>
            <a:pPr marL="85725" marR="0" lvl="0" indent="-85725" algn="l" defTabSz="914400" rtl="0" eaLnBrk="0" fontAlgn="auto" latinLnBrk="0" hangingPunct="0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</a:rPr>
              <a:t>Офисы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Arial"/>
            </a:endParaRPr>
          </a:p>
          <a:p>
            <a:pPr marL="85725" marR="0" lvl="0" indent="-85725" algn="l" defTabSz="914400" rtl="0" eaLnBrk="0" fontAlgn="auto" latinLnBrk="0" hangingPunct="0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/>
              </a:rPr>
              <a:t>Конференц-залы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Arial"/>
            </a:endParaRPr>
          </a:p>
          <a:p>
            <a:pPr marL="85725" marR="0" lvl="0" indent="-85725" algn="l" defTabSz="914400" rtl="0" eaLnBrk="0" fontAlgn="auto" latinLnBrk="0" hangingPunct="0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</a:rPr>
              <a:t>Коридоры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</a:rPr>
              <a:t>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</a:rPr>
              <a:t>Лифты</a:t>
            </a:r>
            <a:endParaRPr lang="en-US" sz="12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Arial"/>
            </a:endParaRPr>
          </a:p>
          <a:p>
            <a:pPr marL="85725" marR="0" lvl="0" indent="-85725" algn="l" defTabSz="914400" rtl="0" eaLnBrk="0" fontAlgn="auto" latinLnBrk="0" hangingPunct="0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</a:rPr>
              <a:t>Приемные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</a:rPr>
              <a:t>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</a:rPr>
              <a:t>Фойе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Arial"/>
            </a:endParaRPr>
          </a:p>
        </p:txBody>
      </p:sp>
      <p:sp>
        <p:nvSpPr>
          <p:cNvPr id="45" name="Rechteck 4">
            <a:extLst>
              <a:ext uri="{FF2B5EF4-FFF2-40B4-BE49-F238E27FC236}">
                <a16:creationId xmlns:a16="http://schemas.microsoft.com/office/drawing/2014/main" id="{53D958DB-3E91-450E-9343-431FBD618C11}"/>
              </a:ext>
            </a:extLst>
          </p:cNvPr>
          <p:cNvSpPr/>
          <p:nvPr/>
        </p:nvSpPr>
        <p:spPr>
          <a:xfrm>
            <a:off x="3317112" y="5880091"/>
            <a:ext cx="2084545" cy="3109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/>
              </a:rPr>
              <a:t>Область применен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Arial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632B6B2F-CAF5-4024-A5E4-2B75283C091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5916" y="1767920"/>
            <a:ext cx="903864" cy="600769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2AD2163C-B735-4A8F-8C64-CF252B351B5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26220" y="1767920"/>
            <a:ext cx="612000" cy="612817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CC7BE243-639F-4A5B-BB6C-F3B68A1BAED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5133" y="1779967"/>
            <a:ext cx="599969" cy="600770"/>
          </a:xfrm>
          <a:prstGeom prst="rect">
            <a:avLst/>
          </a:prstGeom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FDFB7B9-B319-4E8A-9BBE-40AA3EA4C07A}"/>
              </a:ext>
            </a:extLst>
          </p:cNvPr>
          <p:cNvGrpSpPr/>
          <p:nvPr/>
        </p:nvGrpSpPr>
        <p:grpSpPr>
          <a:xfrm>
            <a:off x="8354141" y="1788609"/>
            <a:ext cx="599969" cy="600770"/>
            <a:chOff x="8796454" y="1793624"/>
            <a:chExt cx="599969" cy="600770"/>
          </a:xfrm>
        </p:grpSpPr>
        <p:pic>
          <p:nvPicPr>
            <p:cNvPr id="20" name="Grafik 19" descr="Ein Bild, das Text, ClipArt, Vektorgrafiken enthält.&#10;&#10;Automatisch generierte Beschreibung">
              <a:extLst>
                <a:ext uri="{FF2B5EF4-FFF2-40B4-BE49-F238E27FC236}">
                  <a16:creationId xmlns:a16="http://schemas.microsoft.com/office/drawing/2014/main" id="{98BE1683-03F0-464A-9918-CCB48788E5A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6454" y="1793624"/>
              <a:ext cx="599969" cy="600770"/>
            </a:xfrm>
            <a:prstGeom prst="rect">
              <a:avLst/>
            </a:prstGeom>
          </p:spPr>
        </p:pic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8C0250F-D1B7-43E2-9CF4-77EF466EBB71}"/>
                </a:ext>
              </a:extLst>
            </p:cNvPr>
            <p:cNvSpPr/>
            <p:nvPr/>
          </p:nvSpPr>
          <p:spPr>
            <a:xfrm>
              <a:off x="8965276" y="2157153"/>
              <a:ext cx="120535" cy="137160"/>
            </a:xfrm>
            <a:prstGeom prst="rect">
              <a:avLst/>
            </a:prstGeom>
            <a:solidFill>
              <a:srgbClr val="F1521B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de-DE" sz="1600" err="1"/>
            </a:p>
          </p:txBody>
        </p:sp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8B4216AC-1AAF-4AAA-8B05-9A06437E73D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73863" y="1789098"/>
            <a:ext cx="616359" cy="612817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54C2270-9A3A-4DAD-92D7-36BF951DEB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49261" y="1798957"/>
            <a:ext cx="599969" cy="590422"/>
          </a:xfrm>
          <a:prstGeom prst="rect">
            <a:avLst/>
          </a:prstGeom>
        </p:spPr>
      </p:pic>
      <p:sp>
        <p:nvSpPr>
          <p:cNvPr id="27" name="TextBox 6">
            <a:extLst>
              <a:ext uri="{FF2B5EF4-FFF2-40B4-BE49-F238E27FC236}">
                <a16:creationId xmlns:a16="http://schemas.microsoft.com/office/drawing/2014/main" id="{0F83A29F-1A6C-4FDC-809C-6B7E104F9BFC}"/>
              </a:ext>
            </a:extLst>
          </p:cNvPr>
          <p:cNvSpPr txBox="1"/>
          <p:nvPr/>
        </p:nvSpPr>
        <p:spPr>
          <a:xfrm>
            <a:off x="-1" y="291584"/>
            <a:ext cx="305602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1"/>
                </a:solidFill>
              </a:rPr>
              <a:t>Новинка</a:t>
            </a:r>
            <a:r>
              <a:rPr lang="de-DE" b="1" dirty="0">
                <a:solidFill>
                  <a:schemeClr val="accent1"/>
                </a:solidFill>
              </a:rPr>
              <a:t> 202</a:t>
            </a:r>
            <a:r>
              <a:rPr lang="ru-RU" b="1" dirty="0">
                <a:solidFill>
                  <a:schemeClr val="accent1"/>
                </a:solidFill>
              </a:rPr>
              <a:t>3 февраль</a:t>
            </a:r>
            <a:endParaRPr lang="en-US" b="1" dirty="0">
              <a:solidFill>
                <a:schemeClr val="accent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98B76F-B7B0-0FDE-68D8-09BB8FA259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106" y="1789545"/>
            <a:ext cx="796019" cy="600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19917" y="319676"/>
            <a:ext cx="3524250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4639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3EBD65EE-A2DA-4736-B2DB-09D1D3EC51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6580" y="1732741"/>
            <a:ext cx="6479627" cy="4975982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B878F11E-186F-45A2-9484-23D8B2088F6A}"/>
              </a:ext>
            </a:extLst>
          </p:cNvPr>
          <p:cNvSpPr/>
          <p:nvPr/>
        </p:nvSpPr>
        <p:spPr>
          <a:xfrm>
            <a:off x="515934" y="1747886"/>
            <a:ext cx="4670663" cy="493981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CB84ACE-6CEB-4210-A790-F5E6CBB0B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597" y="616711"/>
            <a:ext cx="9144000" cy="677491"/>
          </a:xfrm>
        </p:spPr>
        <p:txBody>
          <a:bodyPr/>
          <a:lstStyle/>
          <a:p>
            <a:r>
              <a:rPr lang="ru-RU" dirty="0"/>
              <a:t>Функция </a:t>
            </a:r>
            <a:r>
              <a:rPr lang="en-US" dirty="0"/>
              <a:t>Power Select (PS) </a:t>
            </a:r>
            <a:r>
              <a:rPr lang="ru-RU" dirty="0"/>
              <a:t>у драйвера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о всех версиях</a:t>
            </a:r>
            <a:r>
              <a:rPr lang="en-US" dirty="0"/>
              <a:t> ON/OFF </a:t>
            </a:r>
            <a:r>
              <a:rPr lang="ru-RU" dirty="0"/>
              <a:t>семейства</a:t>
            </a:r>
            <a:r>
              <a:rPr lang="en-US" dirty="0"/>
              <a:t> Panel COMFORT CRI80</a:t>
            </a:r>
            <a:endParaRPr lang="de-DE" dirty="0"/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D91903D7-69D0-43E0-8B64-18FC05BF88BC}"/>
              </a:ext>
            </a:extLst>
          </p:cNvPr>
          <p:cNvSpPr txBox="1"/>
          <p:nvPr/>
        </p:nvSpPr>
        <p:spPr>
          <a:xfrm>
            <a:off x="515934" y="5157718"/>
            <a:ext cx="4670663" cy="156966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PL Comfort </a:t>
            </a:r>
            <a:r>
              <a:rPr lang="ru-RU" sz="1600" b="1" dirty="0">
                <a:solidFill>
                  <a:schemeClr val="bg1"/>
                </a:solidFill>
              </a:rPr>
              <a:t>с выбором светового потока </a:t>
            </a:r>
            <a:r>
              <a:rPr lang="en-US" sz="1600" b="1" dirty="0">
                <a:solidFill>
                  <a:schemeClr val="bg1"/>
                </a:solidFill>
              </a:rPr>
              <a:t>(Power Select - PS):</a:t>
            </a:r>
          </a:p>
          <a:p>
            <a:endParaRPr lang="en-US" sz="1600" b="1" dirty="0">
              <a:solidFill>
                <a:schemeClr val="bg1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      33W:     4320 / 3900 / 3640lm</a:t>
            </a:r>
          </a:p>
          <a:p>
            <a:r>
              <a:rPr lang="en-US" sz="1600" b="1" dirty="0">
                <a:solidFill>
                  <a:schemeClr val="bg1"/>
                </a:solidFill>
              </a:rPr>
              <a:t>      28W:                           3640 / 3120 / 2900lm</a:t>
            </a: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125A134-D89F-47EA-875E-729167E930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2643" y="2425023"/>
            <a:ext cx="3667128" cy="2570417"/>
          </a:xfrm>
          <a:prstGeom prst="rect">
            <a:avLst/>
          </a:prstGeom>
        </p:spPr>
      </p:pic>
      <p:sp>
        <p:nvSpPr>
          <p:cNvPr id="13" name="Rechteck 7">
            <a:extLst>
              <a:ext uri="{FF2B5EF4-FFF2-40B4-BE49-F238E27FC236}">
                <a16:creationId xmlns:a16="http://schemas.microsoft.com/office/drawing/2014/main" id="{988856F4-32BE-4A90-A04F-3FD3CE86F7DA}"/>
              </a:ext>
            </a:extLst>
          </p:cNvPr>
          <p:cNvSpPr/>
          <p:nvPr/>
        </p:nvSpPr>
        <p:spPr>
          <a:xfrm>
            <a:off x="5216580" y="1714086"/>
            <a:ext cx="6479627" cy="5013292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33DB3A1-D5EE-4F23-9C2F-432E9BCC86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5649" y="3429000"/>
            <a:ext cx="1479999" cy="752052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14288A9E-C5AD-4F01-9BB4-63F5FE16B5DD}"/>
              </a:ext>
            </a:extLst>
          </p:cNvPr>
          <p:cNvSpPr txBox="1"/>
          <p:nvPr/>
        </p:nvSpPr>
        <p:spPr>
          <a:xfrm>
            <a:off x="5291526" y="1747886"/>
            <a:ext cx="6479627" cy="470128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1"/>
                </a:solidFill>
              </a:rPr>
              <a:t>Преимущества </a:t>
            </a:r>
            <a:r>
              <a:rPr lang="de-DE" b="1" dirty="0">
                <a:solidFill>
                  <a:schemeClr val="accent1"/>
                </a:solidFill>
              </a:rPr>
              <a:t>Power Select (PS):</a:t>
            </a:r>
          </a:p>
          <a:p>
            <a:endParaRPr lang="de-DE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50" b="1" dirty="0">
                <a:solidFill>
                  <a:schemeClr val="accent1"/>
                </a:solidFill>
              </a:rPr>
              <a:t>Уменьшение сложности</a:t>
            </a:r>
            <a:r>
              <a:rPr lang="de-DE" sz="155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только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2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артикула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место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3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х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ощностей 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 сравнении с 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L PF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5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редоставляет пользователю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550" b="1" dirty="0">
                <a:solidFill>
                  <a:schemeClr val="accent1"/>
                </a:solidFill>
              </a:rPr>
              <a:t>свободу в выборе необходимого светового потока</a:t>
            </a:r>
            <a:r>
              <a:rPr lang="de-DE" sz="1550" b="1" dirty="0">
                <a:solidFill>
                  <a:schemeClr val="accent1"/>
                </a:solidFill>
              </a:rPr>
              <a:t> 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пример различные высоты потолков или предпочтения покупателей)</a:t>
            </a:r>
            <a:endParaRPr lang="de-DE" sz="15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de-DE" sz="15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50" b="1" dirty="0">
                <a:solidFill>
                  <a:schemeClr val="accent1"/>
                </a:solidFill>
              </a:rPr>
              <a:t>Удобный доступ 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ереключение на внешнем драйвере</a:t>
            </a:r>
            <a:endParaRPr lang="de-DE" sz="15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5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ветильник может быть использован с малой мощностью для 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 </a:t>
            </a:r>
            <a:r>
              <a:rPr lang="ru-RU" sz="1550" b="1" dirty="0">
                <a:solidFill>
                  <a:schemeClr val="accent1"/>
                </a:solidFill>
              </a:rPr>
              <a:t>увеличения экономии энергии.</a:t>
            </a:r>
            <a:endParaRPr lang="de-DE" sz="1550" b="1" dirty="0">
              <a:solidFill>
                <a:schemeClr val="accent1"/>
              </a:solidFill>
            </a:endParaRPr>
          </a:p>
          <a:p>
            <a:endParaRPr lang="de-DE" sz="15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ерсии 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8W/33W 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ключают поток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3640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лм, который сейчас самый распространенный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. 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Дает потребителю </a:t>
            </a:r>
            <a:r>
              <a:rPr lang="ru-RU" sz="1550" b="1" dirty="0">
                <a:solidFill>
                  <a:schemeClr val="accent1"/>
                </a:solidFill>
              </a:rPr>
              <a:t>опцию выбрать 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иболее эффективный для себя вариант 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28W) 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ли</a:t>
            </a:r>
            <a:r>
              <a:rPr lang="de-DE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33W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чтобы иметь возможность изменить световой поток </a:t>
            </a:r>
            <a:r>
              <a:rPr lang="ru-RU" sz="155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деградируемых</a:t>
            </a:r>
            <a:r>
              <a:rPr lang="ru-RU" sz="15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с течением времени диодов.</a:t>
            </a:r>
            <a:endParaRPr lang="de-DE" sz="15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EA1F459-96BB-4548-8722-2B9E7D04EB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9918" y="1812510"/>
            <a:ext cx="1232106" cy="122502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43897" y="283336"/>
            <a:ext cx="3314700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353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93X01SQ7usGa8NWeQz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SoRDCTh.FpyVirY3z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Ty5MX7RUe0iA.9jXEi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JB.e8HSViX5Q0s_U91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rfvCyrQPy_Ksg5oZoB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gmZ3WgSPW6bAB6yOVo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fEhO7uQJ6u1epakZAF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BxD_oTdKpquzhlUYsT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5k_6XQo.oP0ef1pb0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bu8mNSRmtpYiIyypg7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13HgEsR4yN3qNS0pVK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BoiCVTSVeiWE1KV9C0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5GDBl1Qg.LicFT.Tlt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xtpl0BQGytLFVaoyJ9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SKXFk4QbqhlpvC0E7t.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vEipYRlartBXnPbYg_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RRgMqESgq4l9lwOXEU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Co4.jOQeKjjU29iDak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bcyLT4SP6K3QGT3wzs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LEDVANCE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2"/>
          </a:solidFill>
        </a:ln>
      </a:spPr>
      <a:bodyPr wrap="square" rtlCol="0" anchor="ctr">
        <a:noAutofit/>
      </a:bodyPr>
      <a:lstStyle>
        <a:defPPr algn="ctr">
          <a:defRPr sz="1600" dirty="0" err="1" smtClean="0"/>
        </a:defPPr>
      </a:lstStyle>
    </a:spDef>
    <a:lnDef>
      <a:spPr bwMode="gray"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Green">
      <a:srgbClr val="9ECC14"/>
    </a:custClr>
    <a:custClr name="Turquoise">
      <a:srgbClr val="00A9B2"/>
    </a:custClr>
    <a:custClr name="Purple">
      <a:srgbClr val="5D305B"/>
    </a:custClr>
    <a:custClr name="Yellow">
      <a:srgbClr val="FFAB00"/>
    </a:custClr>
    <a:custClr name="Blue">
      <a:srgbClr val="91BED4"/>
    </a:custClr>
  </a:custClrLst>
  <a:extLst>
    <a:ext uri="{05A4C25C-085E-4340-85A3-A5531E510DB2}">
      <thm15:themeFamily xmlns:thm15="http://schemas.microsoft.com/office/thememl/2012/main" name="190627_PPT Master.pptx  -  Schreibgeschützt" id="{DC3D77A5-39C6-4E4F-AE5E-F26B39A3142A}" vid="{0E369222-FCA0-4986-AAF5-A793A826A40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EA029761B0134A827346E86517B459" ma:contentTypeVersion="17" ma:contentTypeDescription="Create a new document." ma:contentTypeScope="" ma:versionID="33fbbbf9de253bc7ffcd2aa0eb428947">
  <xsd:schema xmlns:xsd="http://www.w3.org/2001/XMLSchema" xmlns:xs="http://www.w3.org/2001/XMLSchema" xmlns:p="http://schemas.microsoft.com/office/2006/metadata/properties" xmlns:ns2="178450e0-6fa5-4474-b4c8-d18419a183b3" xmlns:ns3="4cfe496b-e2b6-4022-9560-3b25b32a23c7" xmlns:ns4="74ffb7e6-092d-4538-a09d-7e0bb066b0b7" targetNamespace="http://schemas.microsoft.com/office/2006/metadata/properties" ma:root="true" ma:fieldsID="601d267cd7db0ce956f8867f583fe5ad" ns2:_="" ns3:_="" ns4:_="">
    <xsd:import namespace="178450e0-6fa5-4474-b4c8-d18419a183b3"/>
    <xsd:import namespace="4cfe496b-e2b6-4022-9560-3b25b32a23c7"/>
    <xsd:import namespace="74ffb7e6-092d-4538-a09d-7e0bb066b0b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4:TaxCatchAll" minOccurs="0"/>
                <xsd:element ref="ns2:_x0414__x0430__x0442__x0430_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8450e0-6fa5-4474-b4c8-d18419a183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e91f32e0-ce09-4d54-8cd8-e0cdb957bf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_x0414__x0430__x0442__x0430_" ma:index="23" nillable="true" ma:displayName="Дата" ma:format="DateTime" ma:internalName="_x0414__x0430__x0442__x0430_">
      <xsd:simpleType>
        <xsd:restriction base="dms:DateTime"/>
      </xsd:simpleType>
    </xsd:element>
    <xsd:element name="MediaServiceLocation" ma:index="24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fe496b-e2b6-4022-9560-3b25b32a23c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ffb7e6-092d-4538-a09d-7e0bb066b0b7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276389bc-d4f8-4fbb-bb5b-87237ba698de}" ma:internalName="TaxCatchAll" ma:showField="CatchAllData" ma:web="4cfe496b-e2b6-4022-9560-3b25b32a23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178450e0-6fa5-4474-b4c8-d18419a183b3" xsi:nil="true"/>
    <_x0414__x0430__x0442__x0430_ xmlns="178450e0-6fa5-4474-b4c8-d18419a183b3" xsi:nil="true"/>
    <SharedWithUsers xmlns="4cfe496b-e2b6-4022-9560-3b25b32a23c7">
      <UserInfo>
        <DisplayName/>
        <AccountId xsi:nil="true"/>
        <AccountType/>
      </UserInfo>
    </SharedWithUsers>
    <lcf76f155ced4ddcb4097134ff3c332f xmlns="178450e0-6fa5-4474-b4c8-d18419a183b3">
      <Terms xmlns="http://schemas.microsoft.com/office/infopath/2007/PartnerControls"/>
    </lcf76f155ced4ddcb4097134ff3c332f>
    <TaxCatchAll xmlns="74ffb7e6-092d-4538-a09d-7e0bb066b0b7" xsi:nil="true"/>
  </documentManagement>
</p:properties>
</file>

<file path=customXml/itemProps1.xml><?xml version="1.0" encoding="utf-8"?>
<ds:datastoreItem xmlns:ds="http://schemas.openxmlformats.org/officeDocument/2006/customXml" ds:itemID="{A31AF816-DBEE-4324-ACF3-E11EF6818B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8450e0-6fa5-4474-b4c8-d18419a183b3"/>
    <ds:schemaRef ds:uri="4cfe496b-e2b6-4022-9560-3b25b32a23c7"/>
    <ds:schemaRef ds:uri="74ffb7e6-092d-4538-a09d-7e0bb066b0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F5B73F1-C81A-4D4A-A2E6-779C4C71C4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177F10-5733-45D0-B98A-3D282DF8ADA4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74ffb7e6-092d-4538-a09d-7e0bb066b0b7"/>
    <ds:schemaRef ds:uri="http://purl.org/dc/terms/"/>
    <ds:schemaRef ds:uri="http://schemas.openxmlformats.org/package/2006/metadata/core-properties"/>
    <ds:schemaRef ds:uri="4cfe496b-e2b6-4022-9560-3b25b32a23c7"/>
    <ds:schemaRef ds:uri="http://purl.org/dc/dcmitype/"/>
    <ds:schemaRef ds:uri="178450e0-6fa5-4474-b4c8-d18419a183b3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794</TotalTime>
  <Words>343</Words>
  <Application>Microsoft Office PowerPoint</Application>
  <PresentationFormat>Широкоэкранный</PresentationFormat>
  <Paragraphs>62</Paragraphs>
  <Slides>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1" baseType="lpstr">
      <vt:lpstr>ＭＳ Ｐゴシック</vt:lpstr>
      <vt:lpstr>Arial</vt:lpstr>
      <vt:lpstr>Calibri</vt:lpstr>
      <vt:lpstr>Symbol</vt:lpstr>
      <vt:lpstr>Times New Roman</vt:lpstr>
      <vt:lpstr>Wingdings</vt:lpstr>
      <vt:lpstr>1_LEDVANCE</vt:lpstr>
      <vt:lpstr>think-cell Folie</vt:lpstr>
      <vt:lpstr>Главные причины быть бестселлером  </vt:lpstr>
      <vt:lpstr>Обзор семейства</vt:lpstr>
      <vt:lpstr>Функция Power Select (PS) у драйвера Во всех версиях ON/OFF семейства Panel COMFORT CRI80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lyutin, Dmitry (EXTERNAL)</dc:creator>
  <cp:lastModifiedBy>Жуков Виталий</cp:lastModifiedBy>
  <cp:revision>12</cp:revision>
  <dcterms:created xsi:type="dcterms:W3CDTF">2023-01-24T12:20:36Z</dcterms:created>
  <dcterms:modified xsi:type="dcterms:W3CDTF">2023-06-09T08:1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04EA029761B0134A827346E86517B459</vt:lpwstr>
  </property>
</Properties>
</file>